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</p:sldMasterIdLst>
  <p:notesMasterIdLst>
    <p:notesMasterId r:id="rId14"/>
  </p:notesMasterIdLst>
  <p:handoutMasterIdLst>
    <p:handoutMasterId r:id="rId15"/>
  </p:handoutMasterIdLst>
  <p:sldIdLst>
    <p:sldId id="276" r:id="rId7"/>
    <p:sldId id="312" r:id="rId8"/>
    <p:sldId id="318" r:id="rId9"/>
    <p:sldId id="311" r:id="rId10"/>
    <p:sldId id="314" r:id="rId11"/>
    <p:sldId id="315" r:id="rId12"/>
    <p:sldId id="29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F23273-B51A-A758-2A91-9940B2F4377B}" name="Pagkou, Natalia" initials="NP" userId="S::PagkouN@ebrd.com::1e4b42c0-51b5-46f1-bde5-614f6aeb41f7" providerId="AD"/>
  <p188:author id="{BBDE0079-5B77-5FBA-BEE6-57BEEEA5823A}" name="Bridge Zoller, Catherine" initials="BC" userId="S::bridgec@ebrd.com::f7f2555d-b852-4e74-b660-b5f370c4b04b" providerId="AD"/>
  <p188:author id="{DCF3D07C-A17C-C9E5-BC6C-BB9936EDEDCC}" name="Pagkou, Natalia" initials="PN" userId="S::pagkoun@ebrd.com::1e4b42c0-51b5-46f1-bde5-614f6aeb41f7" providerId="AD"/>
  <p188:author id="{48248ACD-C22F-BCE1-30E2-3B4F57088B0F}" name="Bridge Zoller, Catherine" initials="BZC" userId="S::BridgeC@ebrd.com::f7f2555d-b852-4e74-b660-b5f370c4b04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lena Ristanovic" initials="JR" lastIdx="1" clrIdx="0">
    <p:extLst>
      <p:ext uri="{19B8F6BF-5375-455C-9EA6-DF929625EA0E}">
        <p15:presenceInfo xmlns:p15="http://schemas.microsoft.com/office/powerpoint/2012/main" userId="79b6412663e5ea1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AECF"/>
    <a:srgbClr val="360A5A"/>
    <a:srgbClr val="65B5A0"/>
    <a:srgbClr val="D83773"/>
    <a:srgbClr val="E99730"/>
    <a:srgbClr val="3083C5"/>
    <a:srgbClr val="1617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24" autoAdjust="0"/>
    <p:restoredTop sz="94341"/>
  </p:normalViewPr>
  <p:slideViewPr>
    <p:cSldViewPr snapToGrid="0" snapToObjects="1">
      <p:cViewPr varScale="1">
        <p:scale>
          <a:sx n="116" d="100"/>
          <a:sy n="116" d="100"/>
        </p:scale>
        <p:origin x="60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23" d="100"/>
          <a:sy n="123" d="100"/>
        </p:scale>
        <p:origin x="4972" y="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120541C-B70B-6F73-45AE-675E8106E0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623B48-5FCA-B3CC-F372-945026B5BB1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DF5BA0-69E5-4C9F-A640-AF4A26365994}" type="datetimeFigureOut">
              <a:rPr lang="en-US" smtClean="0"/>
              <a:t>11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ACB911-66C0-1F10-0237-24482D2568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733092-E423-1D12-3668-162C94DF1A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3BDAE9-B250-43E8-B06D-7C0A40C776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431705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A955EA-61CB-42B1-B715-7DBFEBB7586D}" type="datetimeFigureOut">
              <a:rPr lang="en-GB" smtClean="0"/>
              <a:t>15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9BE97C-6286-441D-B018-6E2A376F1A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92829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03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2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A972F03-1614-9F80-4498-9F4E0C91CB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367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A972F03-1614-9F80-4498-9F4E0C91CB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55062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4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A972F03-1614-9F80-4498-9F4E0C91CB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5531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5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A972F03-1614-9F80-4498-9F4E0C91CB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790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6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7A972F03-1614-9F80-4498-9F4E0C91CB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4759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9BE97C-6286-441D-B018-6E2A376F1A3E}" type="slidenum">
              <a:rPr lang="en-GB" smtClean="0"/>
              <a:t>7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03065308-FD3E-E9EF-B892-73D6262EC1C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6919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9F824AD-CBB8-36B9-90B4-45A2D72C7151}"/>
              </a:ext>
            </a:extLst>
          </p:cNvPr>
          <p:cNvSpPr/>
          <p:nvPr userDrawn="1"/>
        </p:nvSpPr>
        <p:spPr>
          <a:xfrm>
            <a:off x="-24000" y="-69547"/>
            <a:ext cx="12240000" cy="5541547"/>
          </a:xfrm>
          <a:prstGeom prst="rect">
            <a:avLst/>
          </a:prstGeom>
          <a:solidFill>
            <a:srgbClr val="161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69ACEB6-EAE6-8D37-1C7F-75765FE63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7214" t="-1527" r="38065" b="-1494"/>
          <a:stretch/>
        </p:blipFill>
        <p:spPr>
          <a:xfrm rot="16200000">
            <a:off x="6898215" y="538886"/>
            <a:ext cx="5549648" cy="433277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2D7920C-1A35-D625-8D30-989EDCC68F16}"/>
              </a:ext>
            </a:extLst>
          </p:cNvPr>
          <p:cNvSpPr/>
          <p:nvPr userDrawn="1"/>
        </p:nvSpPr>
        <p:spPr>
          <a:xfrm>
            <a:off x="838200" y="4084846"/>
            <a:ext cx="2199968" cy="584775"/>
          </a:xfrm>
          <a:prstGeom prst="rect">
            <a:avLst/>
          </a:prstGeom>
          <a:solidFill>
            <a:srgbClr val="55AEC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7266560-71C4-1696-2436-85BCB0261B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8200" y="5906587"/>
            <a:ext cx="2835442" cy="527920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1309FB6-9CFA-9784-9B30-ED952792F1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5093" y="1590012"/>
            <a:ext cx="5732462" cy="590931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TITLE HEADER STYLE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54E1A2BA-1F18-7C1A-D697-E8DFEDE08F6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5093" y="2515760"/>
            <a:ext cx="5732462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Subheading style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77AB0870-24A1-9129-746F-B2BF9CD3B3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5220" y="4192567"/>
            <a:ext cx="1985928" cy="3693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20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00/00/000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A7884F-6275-1A9A-6912-D0DDAFF12D1E}"/>
              </a:ext>
            </a:extLst>
          </p:cNvPr>
          <p:cNvSpPr txBox="1"/>
          <p:nvPr userDrawn="1"/>
        </p:nvSpPr>
        <p:spPr>
          <a:xfrm>
            <a:off x="750319" y="5618212"/>
            <a:ext cx="1187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0" dirty="0"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orted by</a:t>
            </a:r>
          </a:p>
        </p:txBody>
      </p:sp>
    </p:spTree>
    <p:extLst>
      <p:ext uri="{BB962C8B-B14F-4D97-AF65-F5344CB8AC3E}">
        <p14:creationId xmlns:p14="http://schemas.microsoft.com/office/powerpoint/2010/main" val="2399836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C15AEA-796E-DC0C-CBDD-6A25485416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15CDAF9F-94F2-2807-7B93-A2CA44C197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732440"/>
            <a:ext cx="10515599" cy="5909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3600" b="1" i="0"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TITLE HEADER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F3EC93-4624-5A89-12BD-9393E091A0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5507" y="-17585"/>
            <a:ext cx="12391292" cy="30978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D53C36C-93F5-04E4-EC70-6D5B851672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-105507" y="6568726"/>
            <a:ext cx="12391292" cy="309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746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53DA9E2-2D8F-951D-57B6-0C9D6BD2C1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5507" y="-17585"/>
            <a:ext cx="12391292" cy="3097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7F9F1A2-28D3-5AD1-1CC7-353A94B3FF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-105507" y="6568726"/>
            <a:ext cx="12391292" cy="309782"/>
          </a:xfrm>
          <a:prstGeom prst="rect">
            <a:avLst/>
          </a:prstGeom>
        </p:spPr>
      </p:pic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28DA0944-8096-5DD1-716F-02961214D0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732440"/>
            <a:ext cx="10515599" cy="5909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3600" b="1" i="0"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TITLE HEADER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FD51F32-5824-A80D-E1E6-E7DA1598C4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 sz="18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 sz="16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 sz="16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88DA7EF-9527-A93E-7CAF-C9EA8959003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183923" y="1825625"/>
            <a:ext cx="5181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 sz="18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 sz="16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 sz="16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1925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9F9791A-2568-F0F9-6D60-F7264110D3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0"/>
          <a:stretch/>
        </p:blipFill>
        <p:spPr>
          <a:xfrm>
            <a:off x="-99609" y="-82062"/>
            <a:ext cx="12315055" cy="70221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32D3D1-88B4-A67E-7BD5-B654EE5C6A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794"/>
          <a:stretch/>
        </p:blipFill>
        <p:spPr>
          <a:xfrm>
            <a:off x="-99610" y="-82062"/>
            <a:ext cx="12316561" cy="7022124"/>
          </a:xfrm>
          <a:prstGeom prst="rect">
            <a:avLst/>
          </a:prstGeom>
        </p:spPr>
      </p:pic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24593205-0838-A518-A4EC-DC49AAFE15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5092" y="4391827"/>
            <a:ext cx="8010999" cy="5909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SECTION HEADING STYLE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E0833B78-4234-9140-BF2E-2EE5AB6104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5093" y="5223791"/>
            <a:ext cx="5732462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Section subheading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7FE28D-BD26-B798-3394-77F5996358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35000"/>
          </a:blip>
          <a:srcRect l="31076" t="-1527" r="38065" b="-3589"/>
          <a:stretch/>
        </p:blipFill>
        <p:spPr>
          <a:xfrm rot="16200000">
            <a:off x="6253325" y="1183776"/>
            <a:ext cx="6927546" cy="4420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2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903AA58-ED19-A191-8F15-FBD2BFE467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5507" y="-17585"/>
            <a:ext cx="12391292" cy="30978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63E3F2-002A-E594-2AFD-FD3A34E61D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V="1">
            <a:off x="-105507" y="6568726"/>
            <a:ext cx="12391292" cy="309782"/>
          </a:xfrm>
          <a:prstGeom prst="rect">
            <a:avLst/>
          </a:prstGeom>
        </p:spPr>
      </p:pic>
      <p:sp>
        <p:nvSpPr>
          <p:cNvPr id="12" name="Text Placeholder 25">
            <a:extLst>
              <a:ext uri="{FF2B5EF4-FFF2-40B4-BE49-F238E27FC236}">
                <a16:creationId xmlns:a16="http://schemas.microsoft.com/office/drawing/2014/main" id="{87B4DED6-D3E4-6D3D-8C26-D28D0AD07F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732440"/>
            <a:ext cx="10515599" cy="5909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3600" b="1" i="0">
                <a:solidFill>
                  <a:srgbClr val="16173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TITLE HEADER STY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D41AB22-3BC2-DDA5-9333-9075257E91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200" y="1594338"/>
            <a:ext cx="10515600" cy="466578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sert picture here</a:t>
            </a:r>
          </a:p>
        </p:txBody>
      </p:sp>
    </p:spTree>
    <p:extLst>
      <p:ext uri="{BB962C8B-B14F-4D97-AF65-F5344CB8AC3E}">
        <p14:creationId xmlns:p14="http://schemas.microsoft.com/office/powerpoint/2010/main" val="1175613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75B8AA-BC29-87E0-AF94-E352F9D0A15B}"/>
              </a:ext>
            </a:extLst>
          </p:cNvPr>
          <p:cNvSpPr/>
          <p:nvPr userDrawn="1"/>
        </p:nvSpPr>
        <p:spPr>
          <a:xfrm>
            <a:off x="-24000" y="-57824"/>
            <a:ext cx="12240000" cy="6927547"/>
          </a:xfrm>
          <a:prstGeom prst="rect">
            <a:avLst/>
          </a:prstGeom>
          <a:solidFill>
            <a:srgbClr val="161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D9E1E7D6-CCF6-6B44-099F-F537324EBA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5093" y="1590012"/>
            <a:ext cx="5732462" cy="590931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END SLIDE TITLE</a:t>
            </a:r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F760B6C0-6CB6-D6A9-5B3D-712C7C40A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5093" y="2515760"/>
            <a:ext cx="5732462" cy="4247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Additional content or contact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6824A3-A83D-968D-E3AB-F56B81E74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076" t="-1527" r="38065" b="-3589"/>
          <a:stretch/>
        </p:blipFill>
        <p:spPr>
          <a:xfrm rot="16200000">
            <a:off x="6253325" y="1183776"/>
            <a:ext cx="6927546" cy="4420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376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iner profil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75B8AA-BC29-87E0-AF94-E352F9D0A15B}"/>
              </a:ext>
            </a:extLst>
          </p:cNvPr>
          <p:cNvSpPr/>
          <p:nvPr userDrawn="1"/>
        </p:nvSpPr>
        <p:spPr>
          <a:xfrm>
            <a:off x="-24000" y="-60408"/>
            <a:ext cx="12240000" cy="6927547"/>
          </a:xfrm>
          <a:prstGeom prst="rect">
            <a:avLst/>
          </a:prstGeom>
          <a:solidFill>
            <a:srgbClr val="1617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25">
            <a:extLst>
              <a:ext uri="{FF2B5EF4-FFF2-40B4-BE49-F238E27FC236}">
                <a16:creationId xmlns:a16="http://schemas.microsoft.com/office/drawing/2014/main" id="{D9E1E7D6-CCF6-6B44-099F-F537324EBA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5093" y="638037"/>
            <a:ext cx="5732462" cy="590931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TRAINER PROFILES</a:t>
            </a:r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F760B6C0-6CB6-D6A9-5B3D-712C7C40A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81639" y="2090645"/>
            <a:ext cx="4949076" cy="3139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B6824A3-A83D-968D-E3AB-F56B81E74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076" t="-1527" r="38065" b="-3589"/>
          <a:stretch/>
        </p:blipFill>
        <p:spPr>
          <a:xfrm rot="16200000">
            <a:off x="6253325" y="1183776"/>
            <a:ext cx="6927546" cy="4420893"/>
          </a:xfrm>
          <a:prstGeom prst="rect">
            <a:avLst/>
          </a:prstGeom>
        </p:spPr>
      </p:pic>
      <p:sp>
        <p:nvSpPr>
          <p:cNvPr id="7" name="Text Placeholder 25">
            <a:extLst>
              <a:ext uri="{FF2B5EF4-FFF2-40B4-BE49-F238E27FC236}">
                <a16:creationId xmlns:a16="http://schemas.microsoft.com/office/drawing/2014/main" id="{8309B033-68E5-6B01-7F94-8E682E7CB25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5092" y="3032436"/>
            <a:ext cx="6255623" cy="2585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GB" dirty="0"/>
              <a:t>Description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E679B7-1D5F-D645-687E-F8EC7040B4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7155" y="1630117"/>
            <a:ext cx="1227929" cy="1200323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67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E1188B3-49A8-CD12-FA39-F63649E349F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750687" y="63500"/>
            <a:ext cx="7191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ICIAL U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21ADB8-FC9D-8B56-2B97-DDEF5753B0A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50687" y="6642100"/>
            <a:ext cx="7191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FFICIAL USE</a:t>
            </a:r>
          </a:p>
        </p:txBody>
      </p:sp>
    </p:spTree>
    <p:extLst>
      <p:ext uri="{BB962C8B-B14F-4D97-AF65-F5344CB8AC3E}">
        <p14:creationId xmlns:p14="http://schemas.microsoft.com/office/powerpoint/2010/main" val="871402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ebrd.ltp-elearning.com/" TargetMode="External"/><Relationship Id="rId4" Type="http://schemas.openxmlformats.org/officeDocument/2006/relationships/hyperlink" Target="http://www.alsu.gov.rs/category/vesti/izvestaji-sa-dogadjaja-i-obuka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B34CC-CD44-36DC-8459-D5FDA7579136}"/>
              </a:ext>
            </a:extLst>
          </p:cNvPr>
          <p:cNvSpPr txBox="1">
            <a:spLocks/>
          </p:cNvSpPr>
          <p:nvPr/>
        </p:nvSpPr>
        <p:spPr>
          <a:xfrm>
            <a:off x="307288" y="477079"/>
            <a:ext cx="11033259" cy="504892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4000" b="1" dirty="0">
              <a:solidFill>
                <a:schemeClr val="bg1"/>
              </a:solidFill>
              <a:latin typeface="+mn-lt"/>
            </a:endParaRPr>
          </a:p>
          <a:p>
            <a:endParaRPr lang="en-GB" sz="4000" b="1" dirty="0">
              <a:solidFill>
                <a:schemeClr val="bg1"/>
              </a:solidFill>
              <a:latin typeface="+mn-lt"/>
            </a:endParaRPr>
          </a:p>
          <a:p>
            <a:endParaRPr lang="en-GB" sz="4000" b="1" dirty="0">
              <a:solidFill>
                <a:schemeClr val="bg1"/>
              </a:solidFill>
              <a:latin typeface="+mn-lt"/>
            </a:endParaRPr>
          </a:p>
          <a:p>
            <a:r>
              <a:rPr lang="sr-Cyrl-RS" sz="4000" b="1" dirty="0">
                <a:solidFill>
                  <a:schemeClr val="bg1"/>
                </a:solidFill>
                <a:latin typeface="Franklin Gothic Book"/>
              </a:rPr>
              <a:t>Обука за стечајне управнике</a:t>
            </a:r>
            <a:r>
              <a:rPr lang="en-GB" sz="4000" b="1" dirty="0">
                <a:solidFill>
                  <a:schemeClr val="bg1"/>
                </a:solidFill>
                <a:latin typeface="Franklin Gothic Book"/>
              </a:rPr>
              <a:t>: </a:t>
            </a:r>
            <a:r>
              <a:rPr lang="sr-Cyrl-RS" sz="4000" b="1" dirty="0">
                <a:solidFill>
                  <a:schemeClr val="bg1"/>
                </a:solidFill>
                <a:latin typeface="Franklin Gothic Book"/>
              </a:rPr>
              <a:t>Србија</a:t>
            </a:r>
            <a:endParaRPr lang="en-GB" sz="4000" b="1" dirty="0">
              <a:solidFill>
                <a:schemeClr val="bg1"/>
              </a:solidFill>
              <a:latin typeface="Franklin Gothic Book"/>
            </a:endParaRPr>
          </a:p>
          <a:p>
            <a:endParaRPr lang="en-GB" sz="40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r>
              <a:rPr lang="sr-Cyrl-RS" sz="2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Годишња конференција АЛСУ</a:t>
            </a:r>
            <a:endParaRPr lang="en-GB" sz="24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r>
              <a:rPr lang="en-GB" sz="2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25-28 </a:t>
            </a:r>
            <a:r>
              <a:rPr lang="sr-Cyrl-RS" sz="2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Новембар</a:t>
            </a:r>
            <a:r>
              <a:rPr lang="en-GB" sz="2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 202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6A8D03-25C6-1C85-7B7A-58A07D78645E}"/>
              </a:ext>
            </a:extLst>
          </p:cNvPr>
          <p:cNvSpPr txBox="1"/>
          <p:nvPr/>
        </p:nvSpPr>
        <p:spPr>
          <a:xfrm>
            <a:off x="-41413" y="5525999"/>
            <a:ext cx="12274826" cy="1332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en-GB" sz="3600" b="1" i="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8242C521-DDCF-5F3C-C7FE-C7DC820A9B2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7289" y="5860114"/>
            <a:ext cx="5346764" cy="663771"/>
          </a:xfrm>
        </p:spPr>
        <p:txBody>
          <a:bodyPr/>
          <a:lstStyle/>
          <a:p>
            <a:r>
              <a:rPr lang="en-GB" sz="16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Catherine Bridge Zoller</a:t>
            </a:r>
          </a:p>
          <a:p>
            <a:r>
              <a:rPr lang="en-GB" sz="16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Senior Counsel, </a:t>
            </a:r>
            <a:r>
              <a:rPr lang="sr-Cyrl-RS" sz="1600" dirty="0">
                <a:solidFill>
                  <a:srgbClr val="002060"/>
                </a:solidFill>
                <a:latin typeface="Franklin Gothic Book" panose="020B0503020102020204" pitchFamily="34" charset="0"/>
              </a:rPr>
              <a:t>Програм правне транзиције</a:t>
            </a:r>
            <a:endParaRPr lang="en-GB" sz="1600" dirty="0">
              <a:solidFill>
                <a:srgbClr val="002060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19D839-85A4-D8D0-2751-EBE9BCB73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3781" y="5526000"/>
            <a:ext cx="2647950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9689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B43B9CA2-4B31-4ACD-9A9F-B8E6C64203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6A6154-F75D-CDF3-8B59-0EEB08AB8C9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29321" y="10"/>
            <a:ext cx="3662680" cy="3401558"/>
          </a:xfrm>
          <a:custGeom>
            <a:avLst/>
            <a:gdLst/>
            <a:ahLst/>
            <a:cxnLst/>
            <a:rect l="l" t="t" r="r" b="b"/>
            <a:pathLst>
              <a:path w="3662680" h="3401568">
                <a:moveTo>
                  <a:pt x="0" y="0"/>
                </a:moveTo>
                <a:lnTo>
                  <a:pt x="3662680" y="0"/>
                </a:lnTo>
                <a:lnTo>
                  <a:pt x="3662680" y="3401568"/>
                </a:lnTo>
                <a:lnTo>
                  <a:pt x="774527" y="3401568"/>
                </a:lnTo>
                <a:lnTo>
                  <a:pt x="769892" y="3133175"/>
                </a:lnTo>
                <a:cubicBezTo>
                  <a:pt x="732577" y="2055441"/>
                  <a:pt x="492520" y="1056020"/>
                  <a:pt x="104445" y="215033"/>
                </a:cubicBezTo>
                <a:close/>
              </a:path>
            </a:pathLst>
          </a:cu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5A3F1F2-15D5-E6AF-0394-B7812244C22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5115314" y="10"/>
            <a:ext cx="4118110" cy="3401558"/>
          </a:xfrm>
          <a:custGeom>
            <a:avLst/>
            <a:gdLst/>
            <a:ahLst/>
            <a:cxnLst/>
            <a:rect l="l" t="t" r="r" b="b"/>
            <a:pathLst>
              <a:path w="4118110" h="3401568">
                <a:moveTo>
                  <a:pt x="0" y="0"/>
                </a:moveTo>
                <a:lnTo>
                  <a:pt x="3343575" y="0"/>
                </a:lnTo>
                <a:lnTo>
                  <a:pt x="3448028" y="215050"/>
                </a:lnTo>
                <a:cubicBezTo>
                  <a:pt x="3836103" y="1056037"/>
                  <a:pt x="4076161" y="2055458"/>
                  <a:pt x="4113475" y="3133192"/>
                </a:cubicBezTo>
                <a:lnTo>
                  <a:pt x="4118110" y="3401568"/>
                </a:lnTo>
                <a:lnTo>
                  <a:pt x="801224" y="3401568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C9436F-D5A4-511D-56FD-96B0A0FAA3F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5168353" y="3456432"/>
            <a:ext cx="7023646" cy="3401568"/>
          </a:xfrm>
          <a:custGeom>
            <a:avLst/>
            <a:gdLst/>
            <a:ahLst/>
            <a:cxnLst/>
            <a:rect l="l" t="t" r="r" b="b"/>
            <a:pathLst>
              <a:path w="7023646" h="3401568">
                <a:moveTo>
                  <a:pt x="749132" y="0"/>
                </a:moveTo>
                <a:lnTo>
                  <a:pt x="7023646" y="0"/>
                </a:lnTo>
                <a:lnTo>
                  <a:pt x="7023646" y="3401568"/>
                </a:lnTo>
                <a:lnTo>
                  <a:pt x="0" y="3401568"/>
                </a:lnTo>
                <a:lnTo>
                  <a:pt x="79008" y="3238906"/>
                </a:lnTo>
                <a:cubicBezTo>
                  <a:pt x="502362" y="2321466"/>
                  <a:pt x="749563" y="1215476"/>
                  <a:pt x="749563" y="24956"/>
                </a:cubicBezTo>
                <a:close/>
              </a:path>
            </a:pathLst>
          </a:custGeom>
        </p:spPr>
      </p:pic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33F94DB1-BC5D-454D-845C-7BA3A1F469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32965" cy="6858000"/>
          </a:xfrm>
          <a:custGeom>
            <a:avLst/>
            <a:gdLst>
              <a:gd name="connsiteX0" fmla="*/ 0 w 5932965"/>
              <a:gd name="connsiteY0" fmla="*/ 0 h 6858000"/>
              <a:gd name="connsiteX1" fmla="*/ 5140363 w 5932965"/>
              <a:gd name="connsiteY1" fmla="*/ 0 h 6858000"/>
              <a:gd name="connsiteX2" fmla="*/ 5152943 w 5932965"/>
              <a:gd name="connsiteY2" fmla="*/ 23550 h 6858000"/>
              <a:gd name="connsiteX3" fmla="*/ 5932965 w 5932965"/>
              <a:gd name="connsiteY3" fmla="*/ 3479505 h 6858000"/>
              <a:gd name="connsiteX4" fmla="*/ 5262410 w 5932965"/>
              <a:gd name="connsiteY4" fmla="*/ 6708999 h 6858000"/>
              <a:gd name="connsiteX5" fmla="*/ 5190385 w 5932965"/>
              <a:gd name="connsiteY5" fmla="*/ 6858000 h 6858000"/>
              <a:gd name="connsiteX6" fmla="*/ 0 w 593296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32965" h="6858000">
                <a:moveTo>
                  <a:pt x="0" y="0"/>
                </a:moveTo>
                <a:lnTo>
                  <a:pt x="5140363" y="0"/>
                </a:lnTo>
                <a:lnTo>
                  <a:pt x="5152943" y="23550"/>
                </a:lnTo>
                <a:cubicBezTo>
                  <a:pt x="5642847" y="987256"/>
                  <a:pt x="5932965" y="2183538"/>
                  <a:pt x="5932965" y="3479505"/>
                </a:cubicBezTo>
                <a:cubicBezTo>
                  <a:pt x="5932965" y="4675783"/>
                  <a:pt x="5685764" y="5787121"/>
                  <a:pt x="5262410" y="6708999"/>
                </a:cubicBezTo>
                <a:lnTo>
                  <a:pt x="519038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5" name="Freeform: Shape 24">
            <a:extLst>
              <a:ext uri="{FF2B5EF4-FFF2-40B4-BE49-F238E27FC236}">
                <a16:creationId xmlns:a16="http://schemas.microsoft.com/office/drawing/2014/main" id="{5676B86F-860B-4586-BCAA-C0650C09B7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22333" cy="6858000"/>
          </a:xfrm>
          <a:custGeom>
            <a:avLst/>
            <a:gdLst>
              <a:gd name="connsiteX0" fmla="*/ 0 w 5922333"/>
              <a:gd name="connsiteY0" fmla="*/ 0 h 6858000"/>
              <a:gd name="connsiteX1" fmla="*/ 5129731 w 5922333"/>
              <a:gd name="connsiteY1" fmla="*/ 0 h 6858000"/>
              <a:gd name="connsiteX2" fmla="*/ 5142311 w 5922333"/>
              <a:gd name="connsiteY2" fmla="*/ 23550 h 6858000"/>
              <a:gd name="connsiteX3" fmla="*/ 5922333 w 5922333"/>
              <a:gd name="connsiteY3" fmla="*/ 3479505 h 6858000"/>
              <a:gd name="connsiteX4" fmla="*/ 5251778 w 5922333"/>
              <a:gd name="connsiteY4" fmla="*/ 6708999 h 6858000"/>
              <a:gd name="connsiteX5" fmla="*/ 5179753 w 5922333"/>
              <a:gd name="connsiteY5" fmla="*/ 6858000 h 6858000"/>
              <a:gd name="connsiteX6" fmla="*/ 0 w 592233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22333" h="6858000">
                <a:moveTo>
                  <a:pt x="0" y="0"/>
                </a:moveTo>
                <a:lnTo>
                  <a:pt x="5129731" y="0"/>
                </a:lnTo>
                <a:lnTo>
                  <a:pt x="5142311" y="23550"/>
                </a:lnTo>
                <a:cubicBezTo>
                  <a:pt x="5632215" y="987256"/>
                  <a:pt x="5922333" y="2183538"/>
                  <a:pt x="5922333" y="3479505"/>
                </a:cubicBezTo>
                <a:cubicBezTo>
                  <a:pt x="5922333" y="4675783"/>
                  <a:pt x="5675132" y="5787121"/>
                  <a:pt x="5251778" y="6708999"/>
                </a:cubicBezTo>
                <a:lnTo>
                  <a:pt x="5179753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4EC6AB-A4C5-6CF1-8E95-D6E75736361C}"/>
              </a:ext>
            </a:extLst>
          </p:cNvPr>
          <p:cNvSpPr txBox="1">
            <a:spLocks/>
          </p:cNvSpPr>
          <p:nvPr/>
        </p:nvSpPr>
        <p:spPr>
          <a:xfrm>
            <a:off x="448056" y="685800"/>
            <a:ext cx="492233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  <a:defRPr/>
            </a:pPr>
            <a:r>
              <a:rPr lang="sr-Cyrl-RS" sz="3400" b="1" dirty="0">
                <a:latin typeface="Franklin Gothic Book"/>
              </a:rPr>
              <a:t>ПРОГРАМ ОБУКЕ АЛСУ</a:t>
            </a:r>
            <a:r>
              <a:rPr lang="sr-Latn-RS" sz="3400" b="1" dirty="0">
                <a:latin typeface="Franklin Gothic Book"/>
              </a:rPr>
              <a:t> 2024</a:t>
            </a:r>
            <a:endParaRPr lang="en-GB" sz="3400" b="1" dirty="0">
              <a:latin typeface="Franklin Gothic Book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818ED5-2F56-4171-9445-3AA4F44623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016867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E74FCE8-866C-4AFA-B45C-FACE2A609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8911" y="2089941"/>
            <a:ext cx="4970439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F0AA1D-AD4F-32A0-005B-6E23C71020BE}"/>
              </a:ext>
            </a:extLst>
          </p:cNvPr>
          <p:cNvSpPr txBox="1">
            <a:spLocks/>
          </p:cNvSpPr>
          <p:nvPr/>
        </p:nvSpPr>
        <p:spPr>
          <a:xfrm>
            <a:off x="448056" y="2514600"/>
            <a:ext cx="4922338" cy="366674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ct val="90000"/>
              </a:lnSpc>
              <a:spcAft>
                <a:spcPts val="800"/>
              </a:spcAft>
            </a:pPr>
            <a:r>
              <a:rPr lang="sr-Cyrl-RS" sz="2400" dirty="0">
                <a:latin typeface="Franklin Gothic Book"/>
              </a:rPr>
              <a:t>8 обука укупно</a:t>
            </a:r>
            <a:r>
              <a:rPr lang="en-US" sz="2400" dirty="0">
                <a:latin typeface="Franklin Gothic Book"/>
              </a:rPr>
              <a:t>: 3 </a:t>
            </a:r>
            <a:r>
              <a:rPr lang="sr-Cyrl-RS" sz="2400" dirty="0">
                <a:latin typeface="Franklin Gothic Book"/>
              </a:rPr>
              <a:t>семинара</a:t>
            </a:r>
            <a:r>
              <a:rPr lang="en-US" sz="2400" dirty="0">
                <a:latin typeface="Franklin Gothic Book"/>
              </a:rPr>
              <a:t> </a:t>
            </a:r>
            <a:r>
              <a:rPr lang="sr-Cyrl-RS" sz="2400" dirty="0">
                <a:latin typeface="Franklin Gothic Book"/>
              </a:rPr>
              <a:t>у сваком од 3 града</a:t>
            </a:r>
            <a:r>
              <a:rPr lang="en-US" sz="2400" dirty="0">
                <a:latin typeface="Franklin Gothic Book"/>
              </a:rPr>
              <a:t> (</a:t>
            </a:r>
            <a:r>
              <a:rPr lang="sr-Cyrl-RS" sz="2400" dirty="0">
                <a:latin typeface="Franklin Gothic Book"/>
              </a:rPr>
              <a:t>Београд</a:t>
            </a:r>
            <a:r>
              <a:rPr lang="en-US" sz="2400" dirty="0">
                <a:latin typeface="Franklin Gothic Book"/>
              </a:rPr>
              <a:t>, </a:t>
            </a:r>
            <a:r>
              <a:rPr lang="sr-Cyrl-RS" sz="2400" dirty="0">
                <a:latin typeface="Franklin Gothic Book"/>
              </a:rPr>
              <a:t>Ниш</a:t>
            </a:r>
            <a:r>
              <a:rPr lang="en-US" sz="2400" dirty="0">
                <a:latin typeface="Franklin Gothic Book"/>
              </a:rPr>
              <a:t> </a:t>
            </a:r>
            <a:r>
              <a:rPr lang="sr-Cyrl-RS" sz="2400" dirty="0">
                <a:latin typeface="Franklin Gothic Book"/>
              </a:rPr>
              <a:t>и Нови Сад</a:t>
            </a:r>
            <a:r>
              <a:rPr lang="en-US" sz="2400" dirty="0">
                <a:latin typeface="Franklin Gothic Book"/>
              </a:rPr>
              <a:t>) </a:t>
            </a:r>
            <a:r>
              <a:rPr lang="sr-Cyrl-RS" sz="2400" dirty="0">
                <a:latin typeface="Franklin Gothic Book"/>
              </a:rPr>
              <a:t>и 5 </a:t>
            </a:r>
            <a:r>
              <a:rPr lang="sr-Cyrl-RS" sz="2400" dirty="0" err="1">
                <a:latin typeface="Franklin Gothic Book"/>
              </a:rPr>
              <a:t>вебинара</a:t>
            </a:r>
            <a:endParaRPr lang="en-US" dirty="0">
              <a:latin typeface="Franklin Gothic Book"/>
            </a:endParaRPr>
          </a:p>
          <a:p>
            <a:pPr marL="0">
              <a:lnSpc>
                <a:spcPct val="90000"/>
              </a:lnSpc>
              <a:spcAft>
                <a:spcPts val="800"/>
              </a:spcAft>
            </a:pPr>
            <a:r>
              <a:rPr lang="sr-Cyrl-RS" sz="2400" dirty="0">
                <a:latin typeface="Franklin Gothic Book"/>
              </a:rPr>
              <a:t>Последњи </a:t>
            </a:r>
            <a:r>
              <a:rPr lang="sr-Cyrl-RS" sz="2400" dirty="0" err="1">
                <a:latin typeface="Franklin Gothic Book"/>
              </a:rPr>
              <a:t>вебинар</a:t>
            </a:r>
            <a:r>
              <a:rPr lang="en-US" sz="2400" dirty="0">
                <a:latin typeface="Franklin Gothic Book"/>
              </a:rPr>
              <a:t> (</a:t>
            </a:r>
            <a:r>
              <a:rPr lang="sr-Cyrl-RS" sz="2400" dirty="0">
                <a:latin typeface="Franklin Gothic Book"/>
              </a:rPr>
              <a:t>финансијско рачуноводство</a:t>
            </a:r>
            <a:r>
              <a:rPr lang="en-US" sz="2400" dirty="0">
                <a:latin typeface="Franklin Gothic Book"/>
              </a:rPr>
              <a:t>) </a:t>
            </a:r>
            <a:r>
              <a:rPr lang="sr-Cyrl-RS" sz="2400" dirty="0">
                <a:latin typeface="Franklin Gothic Book"/>
              </a:rPr>
              <a:t>у децембру</a:t>
            </a:r>
            <a:r>
              <a:rPr lang="en-US" sz="2400">
                <a:latin typeface="Franklin Gothic Book"/>
              </a:rPr>
              <a:t> 2024</a:t>
            </a:r>
            <a:endParaRPr lang="en-US" dirty="0">
              <a:latin typeface="Franklin Gothic Book"/>
            </a:endParaRPr>
          </a:p>
          <a:p>
            <a:pPr marL="0">
              <a:lnSpc>
                <a:spcPct val="90000"/>
              </a:lnSpc>
              <a:spcAft>
                <a:spcPts val="800"/>
              </a:spcAft>
            </a:pPr>
            <a:r>
              <a:rPr lang="sr-Cyrl-RS" sz="2400" dirty="0">
                <a:latin typeface="Franklin Gothic Book"/>
              </a:rPr>
              <a:t>Укупно 758 учесника обуке до сада</a:t>
            </a:r>
            <a:endParaRPr lang="en-US" sz="2400" dirty="0">
              <a:latin typeface="Franklin Gothic Book" panose="020B0503020102020204" pitchFamily="34" charset="0"/>
            </a:endParaRPr>
          </a:p>
          <a:p>
            <a:pPr marL="0" indent="0">
              <a:lnSpc>
                <a:spcPct val="90000"/>
              </a:lnSpc>
              <a:spcAft>
                <a:spcPts val="800"/>
              </a:spcAft>
              <a:buNone/>
            </a:pPr>
            <a:endParaRPr lang="en-US" dirty="0"/>
          </a:p>
          <a:p>
            <a:pPr marL="0">
              <a:lnSpc>
                <a:spcPct val="90000"/>
              </a:lnSpc>
              <a:spcAft>
                <a:spcPts val="800"/>
              </a:spcAft>
            </a:pPr>
            <a:endParaRPr lang="en-US" dirty="0">
              <a:effectLst/>
            </a:endParaRPr>
          </a:p>
          <a:p>
            <a:pPr marL="0">
              <a:lnSpc>
                <a:spcPct val="90000"/>
              </a:lnSpc>
              <a:spcAft>
                <a:spcPts val="800"/>
              </a:spcAft>
            </a:pP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94353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EC6AB-A4C5-6CF1-8E95-D6E75736361C}"/>
              </a:ext>
            </a:extLst>
          </p:cNvPr>
          <p:cNvSpPr txBox="1">
            <a:spLocks/>
          </p:cNvSpPr>
          <p:nvPr/>
        </p:nvSpPr>
        <p:spPr>
          <a:xfrm>
            <a:off x="594329" y="356844"/>
            <a:ext cx="11464321" cy="4908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ТИМ ПРОЈЕКТА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Franklin Gothic Book" panose="020B050302010202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AA08DA-AC67-6813-0D3F-B368A7807CFD}"/>
              </a:ext>
            </a:extLst>
          </p:cNvPr>
          <p:cNvSpPr txBox="1"/>
          <p:nvPr/>
        </p:nvSpPr>
        <p:spPr>
          <a:xfrm>
            <a:off x="594328" y="1016500"/>
            <a:ext cx="10925124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</a:pPr>
            <a:r>
              <a:rPr lang="sr-Cyrl-RS" sz="2000" dirty="0">
                <a:latin typeface="Franklin Gothic Book"/>
              </a:rPr>
              <a:t>Два међународна експерта и четири локална експерта уз гостујуће стручњаке за подршку специфичним темама</a:t>
            </a:r>
            <a:r>
              <a:rPr lang="en-US" sz="2000" dirty="0">
                <a:latin typeface="Franklin Gothic Book"/>
              </a:rPr>
              <a:t>, </a:t>
            </a:r>
            <a:r>
              <a:rPr lang="sr-Cyrl-RS" sz="2000" dirty="0">
                <a:latin typeface="Franklin Gothic Book"/>
              </a:rPr>
              <a:t>обухват практичних, правних и финансијских области</a:t>
            </a:r>
            <a:endParaRPr lang="en-US" sz="2000" dirty="0">
              <a:latin typeface="Franklin Gothic Book"/>
            </a:endParaRPr>
          </a:p>
        </p:txBody>
      </p:sp>
      <p:sp>
        <p:nvSpPr>
          <p:cNvPr id="4" name="Parallelogramm 49">
            <a:extLst>
              <a:ext uri="{FF2B5EF4-FFF2-40B4-BE49-F238E27FC236}">
                <a16:creationId xmlns:a16="http://schemas.microsoft.com/office/drawing/2014/main" id="{17565B5F-2BE0-A2AC-4C85-08E1D429941B}"/>
              </a:ext>
            </a:extLst>
          </p:cNvPr>
          <p:cNvSpPr/>
          <p:nvPr/>
        </p:nvSpPr>
        <p:spPr bwMode="auto">
          <a:xfrm>
            <a:off x="1078490" y="1720467"/>
            <a:ext cx="9956800" cy="369332"/>
          </a:xfrm>
          <a:prstGeom prst="parallelogram">
            <a:avLst/>
          </a:prstGeom>
          <a:solidFill>
            <a:srgbClr val="BFCCE3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anchor="ctr"/>
          <a:lstStyle/>
          <a:p>
            <a:pPr>
              <a:defRPr/>
            </a:pPr>
            <a:endParaRPr lang="en-GB" sz="1200" b="1" dirty="0">
              <a:solidFill>
                <a:schemeClr val="tx1"/>
              </a:solidFill>
            </a:endParaRPr>
          </a:p>
        </p:txBody>
      </p:sp>
      <p:sp>
        <p:nvSpPr>
          <p:cNvPr id="8" name="AutoShape 68">
            <a:extLst>
              <a:ext uri="{FF2B5EF4-FFF2-40B4-BE49-F238E27FC236}">
                <a16:creationId xmlns:a16="http://schemas.microsoft.com/office/drawing/2014/main" id="{C710D983-E147-1582-1F77-A1D72B9C50D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03149" y="1720467"/>
            <a:ext cx="1960965" cy="355948"/>
          </a:xfrm>
          <a:prstGeom prst="roundRect">
            <a:avLst>
              <a:gd name="adj" fmla="val 0"/>
            </a:avLst>
          </a:prstGeom>
          <a:solidFill>
            <a:srgbClr val="4066AA"/>
          </a:solidFill>
          <a:ln w="9525" algn="ctr">
            <a:noFill/>
            <a:round/>
            <a:headEnd/>
            <a:tailEnd/>
          </a:ln>
        </p:spPr>
        <p:txBody>
          <a:bodyPr vert="horz" wrap="square" lIns="90000" tIns="46800" rIns="90000" bIns="46800" numCol="1" anchor="ctr" anchorCtr="1" compatLnSpc="1">
            <a:prstTxWarp prst="textNoShape">
              <a:avLst/>
            </a:prstTxWarp>
          </a:bodyPr>
          <a:lstStyle/>
          <a:p>
            <a:pPr indent="-179705"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1400" b="1" dirty="0">
                <a:solidFill>
                  <a:schemeClr val="bg1"/>
                </a:solidFill>
                <a:latin typeface="Franklin Gothic Book" panose="020B0503020102020204" pitchFamily="34" charset="0"/>
                <a:cs typeface="Arial"/>
              </a:rPr>
              <a:t>Међународни експерти</a:t>
            </a:r>
            <a:endParaRPr lang="en-GB" sz="140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0" name="AutoShape 68">
            <a:extLst>
              <a:ext uri="{FF2B5EF4-FFF2-40B4-BE49-F238E27FC236}">
                <a16:creationId xmlns:a16="http://schemas.microsoft.com/office/drawing/2014/main" id="{DFECB9DD-4515-F6BE-2953-188C07CFDAC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01545" y="1710768"/>
            <a:ext cx="1960965" cy="355948"/>
          </a:xfrm>
          <a:prstGeom prst="roundRect">
            <a:avLst>
              <a:gd name="adj" fmla="val 0"/>
            </a:avLst>
          </a:prstGeom>
          <a:solidFill>
            <a:srgbClr val="4066AA"/>
          </a:solidFill>
          <a:ln w="9525" algn="ctr">
            <a:noFill/>
            <a:round/>
            <a:headEnd/>
            <a:tailEnd/>
          </a:ln>
        </p:spPr>
        <p:txBody>
          <a:bodyPr vert="horz" wrap="square" lIns="90000" tIns="46800" rIns="90000" bIns="46800" numCol="1" anchor="ctr" anchorCtr="1" compatLnSpc="1">
            <a:prstTxWarp prst="textNoShape">
              <a:avLst/>
            </a:prstTxWarp>
          </a:bodyPr>
          <a:lstStyle/>
          <a:p>
            <a:pPr indent="-179705"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1400" b="1" dirty="0">
                <a:solidFill>
                  <a:schemeClr val="bg1"/>
                </a:solidFill>
                <a:latin typeface="Franklin Gothic Book" panose="020B0503020102020204" pitchFamily="34" charset="0"/>
                <a:cs typeface="Arial"/>
              </a:rPr>
              <a:t>Локални експерти</a:t>
            </a:r>
            <a:endParaRPr lang="en-GB" sz="140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5DB09E-C63A-4E71-25D2-6DBB13C85C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7192" y="3330832"/>
            <a:ext cx="1782000" cy="15163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2B0C93C-DD9F-FCC5-4880-4688BEDA20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90217" y="3369965"/>
            <a:ext cx="1693676" cy="15163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32DBF97-9E21-A6B0-77A9-96D8AC128A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9381" y="3445281"/>
            <a:ext cx="1524001" cy="15163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4CF5183-B169-637E-14C5-843F9B2350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23983" y="3488406"/>
            <a:ext cx="1524001" cy="144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D2A1DC7-0C8C-844F-7D04-5F529B4550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80533" y="3429000"/>
            <a:ext cx="1605019" cy="15443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EAA9A45-D427-417B-AF2C-59FB36BE6CF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55578" y="5039773"/>
            <a:ext cx="1524001" cy="144000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A6E2CB0-51BF-66E6-2D38-8B0326BB2082}"/>
              </a:ext>
            </a:extLst>
          </p:cNvPr>
          <p:cNvCxnSpPr>
            <a:stCxn id="8" idx="2"/>
            <a:endCxn id="11" idx="0"/>
          </p:cNvCxnSpPr>
          <p:nvPr/>
        </p:nvCxnSpPr>
        <p:spPr>
          <a:xfrm flipH="1">
            <a:off x="1768192" y="2076415"/>
            <a:ext cx="1015440" cy="12544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D6B5358-6AB0-EC64-F9FD-8E7AA2044794}"/>
              </a:ext>
            </a:extLst>
          </p:cNvPr>
          <p:cNvCxnSpPr>
            <a:stCxn id="8" idx="2"/>
            <a:endCxn id="12" idx="0"/>
          </p:cNvCxnSpPr>
          <p:nvPr/>
        </p:nvCxnSpPr>
        <p:spPr>
          <a:xfrm>
            <a:off x="2783632" y="2076415"/>
            <a:ext cx="1453423" cy="12935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5C363CED-D07E-0FEF-EBAA-217C508E77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08237" y="5039773"/>
            <a:ext cx="1194528" cy="1037399"/>
          </a:xfrm>
          <a:prstGeom prst="flowChartConnector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A24090B-1220-CD8A-7928-BC294BE2214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57444" y="6241354"/>
            <a:ext cx="1552575" cy="295275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82F1C21-6D9B-A519-C407-768C9865C04C}"/>
              </a:ext>
            </a:extLst>
          </p:cNvPr>
          <p:cNvCxnSpPr>
            <a:cxnSpLocks/>
          </p:cNvCxnSpPr>
          <p:nvPr/>
        </p:nvCxnSpPr>
        <p:spPr>
          <a:xfrm>
            <a:off x="8922802" y="2089799"/>
            <a:ext cx="0" cy="11590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E0808EB-23D1-BBAE-0E40-9F273662684A}"/>
              </a:ext>
            </a:extLst>
          </p:cNvPr>
          <p:cNvCxnSpPr>
            <a:cxnSpLocks/>
          </p:cNvCxnSpPr>
          <p:nvPr/>
        </p:nvCxnSpPr>
        <p:spPr>
          <a:xfrm flipV="1">
            <a:off x="7151381" y="3216150"/>
            <a:ext cx="3831662" cy="3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04B0CE1-9FD4-B2E7-76EB-9D9C5F2A7619}"/>
              </a:ext>
            </a:extLst>
          </p:cNvPr>
          <p:cNvCxnSpPr>
            <a:endCxn id="13" idx="0"/>
          </p:cNvCxnSpPr>
          <p:nvPr/>
        </p:nvCxnSpPr>
        <p:spPr>
          <a:xfrm>
            <a:off x="7151381" y="3216150"/>
            <a:ext cx="1" cy="229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3DFBE15-A251-AF14-328C-A252AE693AE6}"/>
              </a:ext>
            </a:extLst>
          </p:cNvPr>
          <p:cNvCxnSpPr>
            <a:cxnSpLocks/>
            <a:endCxn id="16" idx="0"/>
          </p:cNvCxnSpPr>
          <p:nvPr/>
        </p:nvCxnSpPr>
        <p:spPr>
          <a:xfrm>
            <a:off x="10983043" y="3216529"/>
            <a:ext cx="0" cy="2124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1DA9931-1CDA-4742-BEC9-519B2BB5E395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8005501" y="3216529"/>
            <a:ext cx="0" cy="1823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84B3658-4E9C-9D77-0AEC-E302E3DC58B8}"/>
              </a:ext>
            </a:extLst>
          </p:cNvPr>
          <p:cNvCxnSpPr>
            <a:cxnSpLocks/>
          </p:cNvCxnSpPr>
          <p:nvPr/>
        </p:nvCxnSpPr>
        <p:spPr>
          <a:xfrm>
            <a:off x="9840104" y="3216529"/>
            <a:ext cx="44813" cy="18232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1E0EF7D-4A8F-3113-2E4C-6ADD70D31057}"/>
              </a:ext>
            </a:extLst>
          </p:cNvPr>
          <p:cNvCxnSpPr>
            <a:cxnSpLocks/>
          </p:cNvCxnSpPr>
          <p:nvPr/>
        </p:nvCxnSpPr>
        <p:spPr>
          <a:xfrm>
            <a:off x="8922802" y="3216529"/>
            <a:ext cx="0" cy="4249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AutoShape 60">
            <a:extLst>
              <a:ext uri="{FF2B5EF4-FFF2-40B4-BE49-F238E27FC236}">
                <a16:creationId xmlns:a16="http://schemas.microsoft.com/office/drawing/2014/main" id="{40AAD58C-6237-485D-B324-DFC41271D2BE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79555" y="1710395"/>
            <a:ext cx="2204690" cy="1516371"/>
          </a:xfrm>
          <a:prstGeom prst="roundRect">
            <a:avLst>
              <a:gd name="adj" fmla="val 0"/>
            </a:avLst>
          </a:prstGeom>
          <a:solidFill>
            <a:srgbClr val="009997"/>
          </a:solidFill>
          <a:ln w="9525" algn="ctr">
            <a:noFill/>
            <a:round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ct val="50000"/>
              </a:lnSpc>
            </a:pPr>
            <a:endParaRPr lang="en-GB" sz="14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lvl="0" algn="ctr">
              <a:lnSpc>
                <a:spcPct val="50000"/>
              </a:lnSpc>
            </a:pPr>
            <a:r>
              <a:rPr lang="sr-Latn-RS" sz="1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EBRD</a:t>
            </a:r>
            <a:r>
              <a:rPr lang="en-GB" sz="1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 </a:t>
            </a:r>
            <a:r>
              <a:rPr lang="sr-Cyrl-RS" sz="1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Вођа Пројекта</a:t>
            </a:r>
            <a:endParaRPr lang="en-GB" sz="1400" b="1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lvl="0" algn="ctr">
              <a:lnSpc>
                <a:spcPct val="50000"/>
              </a:lnSpc>
            </a:pPr>
            <a:br>
              <a:rPr lang="en-GB" sz="1400" b="1" dirty="0">
                <a:solidFill>
                  <a:schemeClr val="bg1"/>
                </a:solidFill>
                <a:latin typeface="Franklin Gothic Book" panose="020B0503020102020204" pitchFamily="34" charset="0"/>
              </a:rPr>
            </a:br>
            <a:r>
              <a:rPr lang="en-GB" sz="1400" b="1" dirty="0">
                <a:solidFill>
                  <a:schemeClr val="bg1"/>
                </a:solidFill>
                <a:latin typeface="Franklin Gothic Book" panose="020B0503020102020204" pitchFamily="34" charset="0"/>
              </a:rPr>
              <a:t>Catherine Bridge Zoller</a:t>
            </a:r>
          </a:p>
          <a:p>
            <a:pPr lvl="0" algn="ctr">
              <a:lnSpc>
                <a:spcPct val="50000"/>
              </a:lnSpc>
            </a:pPr>
            <a:endParaRPr lang="en-GB" sz="1100" b="1" dirty="0">
              <a:solidFill>
                <a:schemeClr val="bg1"/>
              </a:solidFill>
            </a:endParaRPr>
          </a:p>
        </p:txBody>
      </p:sp>
      <p:pic>
        <p:nvPicPr>
          <p:cNvPr id="81" name="Picture 6" descr="Profile photo of Catherine Bridge Zoller">
            <a:extLst>
              <a:ext uri="{FF2B5EF4-FFF2-40B4-BE49-F238E27FC236}">
                <a16:creationId xmlns:a16="http://schemas.microsoft.com/office/drawing/2014/main" id="{464CC008-7AD9-BEC1-444E-0F83D3DDDB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495" y="2203207"/>
            <a:ext cx="1232201" cy="101294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8753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EC6AB-A4C5-6CF1-8E95-D6E75736361C}"/>
              </a:ext>
            </a:extLst>
          </p:cNvPr>
          <p:cNvSpPr txBox="1">
            <a:spLocks/>
          </p:cNvSpPr>
          <p:nvPr/>
        </p:nvSpPr>
        <p:spPr>
          <a:xfrm>
            <a:off x="594329" y="356844"/>
            <a:ext cx="11464321" cy="4908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Кључна ДОСТИГНУЋА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Franklin Gothic Book" panose="020B050302010202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F0AA1D-AD4F-32A0-005B-6E23C71020BE}"/>
              </a:ext>
            </a:extLst>
          </p:cNvPr>
          <p:cNvSpPr txBox="1">
            <a:spLocks/>
          </p:cNvSpPr>
          <p:nvPr/>
        </p:nvSpPr>
        <p:spPr>
          <a:xfrm>
            <a:off x="594328" y="862853"/>
            <a:ext cx="11464321" cy="55558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sr-Cyrl-RS" sz="1800" dirty="0">
                <a:latin typeface="Franklin Gothic Book"/>
                <a:ea typeface="Verdana"/>
                <a:cs typeface="Times New Roman"/>
              </a:rPr>
              <a:t>8</a:t>
            </a:r>
            <a:r>
              <a:rPr lang="en-GB" sz="1800" dirty="0">
                <a:latin typeface="Franklin Gothic Book"/>
                <a:ea typeface="Verdana"/>
                <a:cs typeface="Times New Roman"/>
              </a:rPr>
              <a:t> </a:t>
            </a:r>
            <a:r>
              <a:rPr lang="sr-Cyrl-RS" sz="1800" dirty="0">
                <a:latin typeface="Franklin Gothic Book"/>
                <a:ea typeface="Verdana"/>
                <a:cs typeface="Times New Roman"/>
              </a:rPr>
              <a:t>радних свезака</a:t>
            </a:r>
            <a:r>
              <a:rPr lang="en-GB" sz="1800" dirty="0">
                <a:latin typeface="Franklin Gothic Book"/>
                <a:ea typeface="Verdana"/>
                <a:cs typeface="Times New Roman"/>
              </a:rPr>
              <a:t> </a:t>
            </a:r>
            <a:r>
              <a:rPr lang="sr-Cyrl-RS" sz="1800" dirty="0">
                <a:latin typeface="Franklin Gothic Book"/>
                <a:ea typeface="Verdana"/>
                <a:cs typeface="Times New Roman"/>
              </a:rPr>
              <a:t>и</a:t>
            </a:r>
            <a:r>
              <a:rPr lang="en-GB" sz="1800" dirty="0">
                <a:latin typeface="Franklin Gothic Book"/>
                <a:ea typeface="Verdana"/>
                <a:cs typeface="Times New Roman"/>
              </a:rPr>
              <a:t> 23 </a:t>
            </a:r>
            <a:r>
              <a:rPr lang="sr-Cyrl-RS" sz="1800" dirty="0">
                <a:latin typeface="Franklin Gothic Book"/>
                <a:ea typeface="Verdana"/>
                <a:cs typeface="Times New Roman"/>
              </a:rPr>
              <a:t>презентације сачињени од стране тима међународних и домаћи</a:t>
            </a:r>
            <a:r>
              <a:rPr lang="en-GB" sz="1800" dirty="0">
                <a:latin typeface="Franklin Gothic Book"/>
                <a:ea typeface="Verdana"/>
                <a:cs typeface="Times New Roman"/>
              </a:rPr>
              <a:t>x</a:t>
            </a:r>
            <a:r>
              <a:rPr lang="sr-Cyrl-RS" sz="1800" dirty="0">
                <a:latin typeface="Franklin Gothic Book"/>
                <a:ea typeface="Verdana"/>
                <a:cs typeface="Times New Roman"/>
              </a:rPr>
              <a:t> стручњака</a:t>
            </a:r>
            <a:endParaRPr lang="en-GB" sz="1800" dirty="0">
              <a:effectLst/>
              <a:latin typeface="Franklin Gothic Book"/>
              <a:ea typeface="Verdana"/>
              <a:cs typeface="Times New Roman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endParaRPr lang="en-GB" sz="240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7297FF-F03A-23F0-6E2A-518E0D84A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601" y="1361218"/>
            <a:ext cx="3222472" cy="4633929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B5E4875-1532-4F5F-1120-7460FB3EAB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316155"/>
              </p:ext>
            </p:extLst>
          </p:nvPr>
        </p:nvGraphicFramePr>
        <p:xfrm>
          <a:off x="4900759" y="1361218"/>
          <a:ext cx="6592640" cy="39209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42348">
                  <a:extLst>
                    <a:ext uri="{9D8B030D-6E8A-4147-A177-3AD203B41FA5}">
                      <a16:colId xmlns:a16="http://schemas.microsoft.com/office/drawing/2014/main" val="3030423199"/>
                    </a:ext>
                  </a:extLst>
                </a:gridCol>
                <a:gridCol w="5350292">
                  <a:extLst>
                    <a:ext uri="{9D8B030D-6E8A-4147-A177-3AD203B41FA5}">
                      <a16:colId xmlns:a16="http://schemas.microsoft.com/office/drawing/2014/main" val="2689184750"/>
                    </a:ext>
                  </a:extLst>
                </a:gridCol>
              </a:tblGrid>
              <a:tr h="3975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sr-Cyrl-RS" sz="1800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бр</a:t>
                      </a:r>
                      <a:r>
                        <a:rPr lang="en-GB" sz="1800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. </a:t>
                      </a:r>
                      <a:endParaRPr lang="en-GB" sz="1800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sr-Cyrl-RS" sz="18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зив</a:t>
                      </a:r>
                      <a:endParaRPr lang="en-GB" sz="18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846752"/>
                  </a:ext>
                </a:extLst>
              </a:tr>
              <a:tr h="43119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</a:t>
                      </a: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1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Стечајни управници у различитим јурисдикцијама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888884"/>
                  </a:ext>
                </a:extLst>
              </a:tr>
              <a:tr h="383281">
                <a:tc>
                  <a:txBody>
                    <a:bodyPr/>
                    <a:lstStyle/>
                    <a:p>
                      <a:pPr marL="444500" marR="0" lvl="0" indent="-44450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</a:t>
                      </a:r>
                      <a:r>
                        <a:rPr lang="en-GB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 2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Етика и професионални стандарди у стечајном поступку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61018"/>
                  </a:ext>
                </a:extLst>
              </a:tr>
              <a:tr h="39750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3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Управљање поступком стечаја и извештавање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9171287"/>
                  </a:ext>
                </a:extLst>
              </a:tr>
              <a:tr h="39750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4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Побојне тужбе и проналажење имовине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399738"/>
                  </a:ext>
                </a:extLst>
              </a:tr>
              <a:tr h="39750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5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Планови реорганизације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368243"/>
                  </a:ext>
                </a:extLst>
              </a:tr>
              <a:tr h="401852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6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Међународни стечај и пракса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8062825"/>
                  </a:ext>
                </a:extLst>
              </a:tr>
              <a:tr h="39750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7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Уновчење имовине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248389"/>
                  </a:ext>
                </a:extLst>
              </a:tr>
              <a:tr h="397501">
                <a:tc>
                  <a:txBody>
                    <a:bodyPr/>
                    <a:lstStyle/>
                    <a:p>
                      <a:pPr marL="444500" indent="-444500">
                        <a:lnSpc>
                          <a:spcPct val="107000"/>
                        </a:lnSpc>
                      </a:pPr>
                      <a:r>
                        <a:rPr lang="sr-Cyrl-RS" sz="1400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Радна свеска 8</a:t>
                      </a:r>
                      <a:endParaRPr lang="en-GB" sz="1400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sr-Cyrl-RS" sz="16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Финансијско рачуноводство</a:t>
                      </a:r>
                      <a:endParaRPr lang="en-GB" sz="16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532541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FCF38D0-97CC-0737-4BE7-3769FE383507}"/>
              </a:ext>
            </a:extLst>
          </p:cNvPr>
          <p:cNvSpPr txBox="1"/>
          <p:nvPr/>
        </p:nvSpPr>
        <p:spPr>
          <a:xfrm>
            <a:off x="4900758" y="5506278"/>
            <a:ext cx="6592641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r-Cyrl-RS" sz="2000" b="1" i="0" dirty="0">
                <a:latin typeface="Franklin Gothic Book"/>
                <a:ea typeface="Verdana"/>
                <a:cs typeface="Verdana" panose="020B0604030504040204" pitchFamily="34" charset="0"/>
              </a:rPr>
              <a:t>Све доступно на сајту АЛСУ</a:t>
            </a:r>
            <a:r>
              <a:rPr lang="en-GB" sz="2000" b="1" dirty="0">
                <a:latin typeface="Franklin Gothic Book"/>
                <a:ea typeface="Verdana"/>
                <a:cs typeface="Verdana" panose="020B0604030504040204" pitchFamily="34" charset="0"/>
              </a:rPr>
              <a:t>: </a:t>
            </a:r>
            <a:r>
              <a:rPr lang="en-GB" sz="2000" b="1" dirty="0">
                <a:latin typeface="Franklin Gothic Book"/>
                <a:ea typeface="Verdana"/>
                <a:cs typeface="Verdana" panose="020B0604030504040204" pitchFamily="34" charset="0"/>
                <a:hlinkClick r:id="rId4"/>
              </a:rPr>
              <a:t>www.alsu.gov.rs/category/vesti/izvestaji-sa-dogadjaja-i-obuka/</a:t>
            </a:r>
            <a:r>
              <a:rPr lang="en-GB" sz="2000" b="1" dirty="0">
                <a:latin typeface="Franklin Gothic Book"/>
                <a:ea typeface="Verdana"/>
                <a:cs typeface="Verdana" panose="020B0604030504040204" pitchFamily="34" charset="0"/>
              </a:rPr>
              <a:t> </a:t>
            </a:r>
            <a:r>
              <a:rPr lang="sr-Cyrl-RS" sz="2000" b="1" dirty="0">
                <a:latin typeface="Franklin Gothic Book"/>
                <a:ea typeface="Verdana"/>
                <a:cs typeface="Verdana" panose="020B0604030504040204" pitchFamily="34" charset="0"/>
              </a:rPr>
              <a:t>и </a:t>
            </a:r>
            <a:r>
              <a:rPr lang="sr-Latn-RS" sz="2000" b="1" dirty="0">
                <a:latin typeface="Franklin Gothic Book"/>
                <a:ea typeface="Verdana"/>
                <a:cs typeface="Verdana" panose="020B0604030504040204" pitchFamily="34" charset="0"/>
              </a:rPr>
              <a:t>EBRD</a:t>
            </a:r>
            <a:r>
              <a:rPr lang="sr-Cyrl-RS" sz="2000" b="1" dirty="0">
                <a:latin typeface="Franklin Gothic Book"/>
                <a:ea typeface="Verdana"/>
                <a:cs typeface="Verdana" panose="020B0604030504040204" pitchFamily="34" charset="0"/>
              </a:rPr>
              <a:t>:</a:t>
            </a:r>
            <a:r>
              <a:rPr lang="en-GB" sz="2000" b="1" dirty="0">
                <a:latin typeface="Franklin Gothic Book"/>
                <a:ea typeface="Verdana"/>
                <a:cs typeface="Verdana" panose="020B0604030504040204" pitchFamily="34" charset="0"/>
              </a:rPr>
              <a:t> </a:t>
            </a:r>
            <a:r>
              <a:rPr lang="en-GB" sz="2000" b="1" dirty="0">
                <a:latin typeface="Franklin Gothic Book"/>
                <a:ea typeface="Verdana"/>
                <a:cs typeface="Verdana" panose="020B0604030504040204" pitchFamily="34" charset="0"/>
                <a:hlinkClick r:id="rId5"/>
              </a:rPr>
              <a:t>https://ebrd.ltp-elearning.com/</a:t>
            </a:r>
            <a:endParaRPr lang="en-GB" sz="2000" b="1" i="0" dirty="0">
              <a:latin typeface="Franklin Gothic Book"/>
              <a:ea typeface="Verdana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144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EC6AB-A4C5-6CF1-8E95-D6E75736361C}"/>
              </a:ext>
            </a:extLst>
          </p:cNvPr>
          <p:cNvSpPr txBox="1">
            <a:spLocks/>
          </p:cNvSpPr>
          <p:nvPr/>
        </p:nvSpPr>
        <p:spPr>
          <a:xfrm>
            <a:off x="594329" y="356844"/>
            <a:ext cx="11464321" cy="4908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ПРИЛОГ 1</a:t>
            </a: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: </a:t>
            </a:r>
            <a:r>
              <a:rPr kumimoji="0" lang="sr-Cyrl-R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ПРЕГЛЕД ПРОГРАМА ОБУКЕ</a:t>
            </a: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F0AA1D-AD4F-32A0-005B-6E23C71020BE}"/>
              </a:ext>
            </a:extLst>
          </p:cNvPr>
          <p:cNvSpPr txBox="1">
            <a:spLocks/>
          </p:cNvSpPr>
          <p:nvPr/>
        </p:nvSpPr>
        <p:spPr>
          <a:xfrm>
            <a:off x="594328" y="862853"/>
            <a:ext cx="11464321" cy="55558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endParaRPr lang="en-GB" sz="240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4A3CE1A-5480-89B2-4A62-B4687AC5CC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346517"/>
              </p:ext>
            </p:extLst>
          </p:nvPr>
        </p:nvGraphicFramePr>
        <p:xfrm>
          <a:off x="267854" y="937327"/>
          <a:ext cx="11628581" cy="54005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0090">
                  <a:extLst>
                    <a:ext uri="{9D8B030D-6E8A-4147-A177-3AD203B41FA5}">
                      <a16:colId xmlns:a16="http://schemas.microsoft.com/office/drawing/2014/main" val="1969945665"/>
                    </a:ext>
                  </a:extLst>
                </a:gridCol>
                <a:gridCol w="1602247">
                  <a:extLst>
                    <a:ext uri="{9D8B030D-6E8A-4147-A177-3AD203B41FA5}">
                      <a16:colId xmlns:a16="http://schemas.microsoft.com/office/drawing/2014/main" val="3875118645"/>
                    </a:ext>
                  </a:extLst>
                </a:gridCol>
                <a:gridCol w="9136244">
                  <a:extLst>
                    <a:ext uri="{9D8B030D-6E8A-4147-A177-3AD203B41FA5}">
                      <a16:colId xmlns:a16="http://schemas.microsoft.com/office/drawing/2014/main" val="3478206705"/>
                    </a:ext>
                  </a:extLst>
                </a:gridCol>
              </a:tblGrid>
              <a:tr h="180354">
                <a:tc>
                  <a:txBody>
                    <a:bodyPr/>
                    <a:lstStyle/>
                    <a:p>
                      <a:pPr algn="ctr"/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ум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</a:rPr>
                        <a:t>Назив обуке</a:t>
                      </a:r>
                      <a:r>
                        <a:rPr lang="en-GB" sz="1400" kern="100" dirty="0"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kern="100" dirty="0">
                          <a:effectLst/>
                          <a:latin typeface="Franklin Gothic Book" panose="020B0503020102020204" pitchFamily="34" charset="0"/>
                        </a:rPr>
                        <a:t>Power Point </a:t>
                      </a:r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</a:rPr>
                        <a:t>Презентација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4216499"/>
                  </a:ext>
                </a:extLst>
              </a:tr>
              <a:tr h="713046">
                <a:tc>
                  <a:txBody>
                    <a:bodyPr/>
                    <a:lstStyle/>
                    <a:p>
                      <a:r>
                        <a:rPr lang="sr-Cyrl-RS" sz="1200" kern="100" dirty="0">
                          <a:effectLst/>
                          <a:latin typeface="Franklin Gothic Book" panose="020B0503020102020204" pitchFamily="34" charset="0"/>
                        </a:rPr>
                        <a:t>Фебруар</a:t>
                      </a:r>
                      <a:r>
                        <a:rPr lang="en-GB" sz="1200" kern="100" dirty="0">
                          <a:effectLst/>
                          <a:latin typeface="Franklin Gothic Book" panose="020B0503020102020204" pitchFamily="34" charset="0"/>
                        </a:rPr>
                        <a:t> 2024</a:t>
                      </a:r>
                      <a:endParaRPr lang="en-GB" sz="12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Стечајни управници у различитим јурисдикцијама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</a:endParaRPr>
                    </a:p>
                    <a:p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(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веб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 </a:t>
                      </a:r>
                    </a:p>
                    <a:p>
                      <a:pPr marL="171450" lvl="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Компаративни приказ положаја, квалификација и обуке, надзора и регулативе стечајних управника у различитим јурисдикцијама - 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Kerry Trigg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и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295976"/>
                  </a:ext>
                </a:extLst>
              </a:tr>
              <a:tr h="2352502">
                <a:tc>
                  <a:txBody>
                    <a:bodyPr/>
                    <a:lstStyle/>
                    <a:p>
                      <a:r>
                        <a:rPr lang="sr-Cyrl-RS" sz="1200" kern="100" dirty="0">
                          <a:effectLst/>
                          <a:latin typeface="Franklin Gothic Book" panose="020B0503020102020204" pitchFamily="34" charset="0"/>
                        </a:rPr>
                        <a:t>Март</a:t>
                      </a:r>
                      <a:r>
                        <a:rPr lang="en-GB" sz="1200" kern="100" dirty="0">
                          <a:effectLst/>
                          <a:latin typeface="Franklin Gothic Book" panose="020B0503020102020204" pitchFamily="34" charset="0"/>
                        </a:rPr>
                        <a:t> 2024</a:t>
                      </a:r>
                      <a:endParaRPr lang="en-GB" sz="12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endParaRPr lang="sr-Cyrl-RS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</a:rPr>
                        <a:t>Етика и професионални стандарди у стечајном поступку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  <a:p>
                      <a:endParaRPr lang="sr-Cyrl-RS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</a:endParaRPr>
                    </a:p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и</a:t>
                      </a:r>
                    </a:p>
                    <a:p>
                      <a:endParaRPr lang="sr-Cyrl-RS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</a:endParaRPr>
                    </a:p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Управљање поступком стечаја и извештавање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(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сем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течајни поступак и извештавање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-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међународни оквир и принципи -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Kerry Trigg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Професионална етика и поступак стечаја -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Kerry Trigg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Кодекс етике за стечајне управнике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Дисциплински поступак и санкције – 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Правни акти у поступку стечаја – 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тандарди у управљању поступком – 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течајни управници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Положај и дужности – Ђорђе Јокић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Дужности након именовања стечајног управника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Приоритети првог дана – Ђорђе Јокић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тудије случаја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Управљање поступком – Ђорђе Јок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Технике управљања поступком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Комуникација и решавање сукоба – Ђорђе Јок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тудије случаја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–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Кршење кодекса етике и дисциплински поступак – Нинослав 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Воларев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Дисциплински поступак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Генерални приказ ставова праксе – Нинослав 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Воларевић</a:t>
                      </a:r>
                      <a:endParaRPr lang="en-GB" sz="1200" b="1" kern="100" dirty="0" err="1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285959"/>
                  </a:ext>
                </a:extLst>
              </a:tr>
              <a:tr h="756421">
                <a:tc>
                  <a:txBody>
                    <a:bodyPr/>
                    <a:lstStyle/>
                    <a:p>
                      <a:r>
                        <a:rPr lang="sr-Cyrl-RS" sz="1200" kern="100" dirty="0">
                          <a:effectLst/>
                          <a:latin typeface="Franklin Gothic Book" panose="020B0503020102020204" pitchFamily="34" charset="0"/>
                        </a:rPr>
                        <a:t>Април</a:t>
                      </a:r>
                      <a:r>
                        <a:rPr lang="en-GB" sz="1200" kern="100" dirty="0">
                          <a:effectLst/>
                          <a:latin typeface="Franklin Gothic Book" panose="020B0503020102020204" pitchFamily="34" charset="0"/>
                        </a:rPr>
                        <a:t> 2024</a:t>
                      </a:r>
                      <a:endParaRPr lang="en-GB" sz="12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Побојне тужбе и проналажење имовине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(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веб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Побојне тужбе – Нинослав 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Воларев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 panose="020B0503020102020204" pitchFamily="34" charset="0"/>
                          <a:ea typeface="+mn-ea"/>
                          <a:cs typeface="+mn-cs"/>
                        </a:rPr>
                        <a:t>Проналажење имовине – Ђорђе Јокић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929961"/>
                  </a:ext>
                </a:extLst>
              </a:tr>
              <a:tr h="912334">
                <a:tc>
                  <a:txBody>
                    <a:bodyPr/>
                    <a:lstStyle/>
                    <a:p>
                      <a:r>
                        <a:rPr lang="sr-Cyrl-RS" sz="1200" kern="100" dirty="0">
                          <a:effectLst/>
                          <a:latin typeface="Franklin Gothic Book" panose="020B0503020102020204" pitchFamily="34" charset="0"/>
                        </a:rPr>
                        <a:t>Мај</a:t>
                      </a:r>
                      <a:r>
                        <a:rPr lang="en-GB" sz="1200" kern="100" dirty="0">
                          <a:effectLst/>
                          <a:latin typeface="Franklin Gothic Book" panose="020B0503020102020204" pitchFamily="34" charset="0"/>
                        </a:rPr>
                        <a:t> 2024</a:t>
                      </a:r>
                      <a:endParaRPr lang="en-GB" sz="12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Планови реорганизације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(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сем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Реорганизација и планови реорганизације –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Др.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Paul Omar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Садржина планова реорганизације уз судску праксу  - 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Реорганизација са студијом случаја -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Идентификовање финансијске позиције друштва, мере реорганизације и бизнис план – Мирослава Блажић Мајсторов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Методологије процене са студијом случаја – Данијела Илић 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+mn-cs"/>
                        </a:rPr>
                        <a:t>Поређење банкротства и реорганизације – Бранко Радуловић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727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7959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EC6AB-A4C5-6CF1-8E95-D6E75736361C}"/>
              </a:ext>
            </a:extLst>
          </p:cNvPr>
          <p:cNvSpPr txBox="1">
            <a:spLocks/>
          </p:cNvSpPr>
          <p:nvPr/>
        </p:nvSpPr>
        <p:spPr>
          <a:xfrm>
            <a:off x="594329" y="356844"/>
            <a:ext cx="11464321" cy="49088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cap="all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ПРЕГЛЕД ПРОГРАМА ОБУКЕ</a:t>
            </a: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Verdana" panose="020B0604030504040204" pitchFamily="34" charset="0"/>
              </a:rPr>
              <a:t>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F0AA1D-AD4F-32A0-005B-6E23C71020BE}"/>
              </a:ext>
            </a:extLst>
          </p:cNvPr>
          <p:cNvSpPr txBox="1">
            <a:spLocks/>
          </p:cNvSpPr>
          <p:nvPr/>
        </p:nvSpPr>
        <p:spPr>
          <a:xfrm>
            <a:off x="594328" y="862853"/>
            <a:ext cx="11464321" cy="55558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endParaRPr lang="en-GB" sz="2400" dirty="0">
              <a:effectLst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4A3CE1A-5480-89B2-4A62-B4687AC5CC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5161619"/>
              </p:ext>
            </p:extLst>
          </p:nvPr>
        </p:nvGraphicFramePr>
        <p:xfrm>
          <a:off x="267854" y="1237674"/>
          <a:ext cx="11628581" cy="44847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0090">
                  <a:extLst>
                    <a:ext uri="{9D8B030D-6E8A-4147-A177-3AD203B41FA5}">
                      <a16:colId xmlns:a16="http://schemas.microsoft.com/office/drawing/2014/main" val="1969945665"/>
                    </a:ext>
                  </a:extLst>
                </a:gridCol>
                <a:gridCol w="1602247">
                  <a:extLst>
                    <a:ext uri="{9D8B030D-6E8A-4147-A177-3AD203B41FA5}">
                      <a16:colId xmlns:a16="http://schemas.microsoft.com/office/drawing/2014/main" val="3875118645"/>
                    </a:ext>
                  </a:extLst>
                </a:gridCol>
                <a:gridCol w="9136244">
                  <a:extLst>
                    <a:ext uri="{9D8B030D-6E8A-4147-A177-3AD203B41FA5}">
                      <a16:colId xmlns:a16="http://schemas.microsoft.com/office/drawing/2014/main" val="3478206705"/>
                    </a:ext>
                  </a:extLst>
                </a:gridCol>
              </a:tblGrid>
              <a:tr h="180354">
                <a:tc>
                  <a:txBody>
                    <a:bodyPr/>
                    <a:lstStyle/>
                    <a:p>
                      <a:pPr algn="ctr"/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ум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</a:rPr>
                        <a:t>Назив обуке</a:t>
                      </a:r>
                      <a:r>
                        <a:rPr lang="en-GB" sz="1400" kern="100" dirty="0">
                          <a:effectLst/>
                          <a:latin typeface="Franklin Gothic Book" panose="020B0503020102020204" pitchFamily="34" charset="0"/>
                        </a:rPr>
                        <a:t> 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kern="100" dirty="0">
                          <a:effectLst/>
                          <a:latin typeface="Franklin Gothic Book" panose="020B0503020102020204" pitchFamily="34" charset="0"/>
                        </a:rPr>
                        <a:t>Power Point </a:t>
                      </a:r>
                      <a:r>
                        <a:rPr lang="sr-Cyrl-RS" sz="1400" kern="100" dirty="0">
                          <a:effectLst/>
                          <a:latin typeface="Franklin Gothic Book" panose="020B0503020102020204" pitchFamily="34" charset="0"/>
                        </a:rPr>
                        <a:t>Презентација</a:t>
                      </a:r>
                      <a:endParaRPr lang="en-GB" sz="1400" kern="1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131" marR="21131" marT="0" marB="0">
                    <a:solidFill>
                      <a:srgbClr val="55AE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4216499"/>
                  </a:ext>
                </a:extLst>
              </a:tr>
              <a:tr h="488602"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Јун</a:t>
                      </a:r>
                      <a:r>
                        <a:rPr lang="en-GB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 2024</a:t>
                      </a:r>
                      <a:endParaRPr lang="en-GB" sz="1200" b="1" kern="100" dirty="0"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Форензичко рачуноводство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(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веб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  <a:p>
                      <a:pPr marL="171450" lvl="0" indent="-17145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Форензичко рачуноводство и ревизија – Јована Зел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295976"/>
                  </a:ext>
                </a:extLst>
              </a:tr>
              <a:tr h="841535"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Септембар</a:t>
                      </a:r>
                      <a:r>
                        <a:rPr lang="en-GB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 2024</a:t>
                      </a:r>
                      <a:endParaRPr lang="en-GB" sz="1200" b="1" kern="100" dirty="0"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Међународни стечај и пракса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(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веб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UNCITRAL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Модел Закон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Изазови међународног стечаја – Др.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Paul Omar 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Међународни стечај у законодавству Србије – Лука Андрић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 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5285959"/>
                  </a:ext>
                </a:extLst>
              </a:tr>
              <a:tr h="756421"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Октобар</a:t>
                      </a:r>
                      <a:r>
                        <a:rPr lang="en-GB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 2024</a:t>
                      </a:r>
                      <a:endParaRPr lang="en-GB" sz="1200" b="1" kern="100" dirty="0"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Уновчење имовине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(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сем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  <a:p>
                      <a:pPr marL="171450" lvl="0" indent="-171450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Улога суда и поверилаца у поступку уновчења – Лука Андрић</a:t>
                      </a:r>
                      <a:endParaRPr lang="en-US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Правне последице продаје правног лица уз студију случаја – </a:t>
                      </a:r>
                      <a:r>
                        <a:rPr lang="sr-Cyrl-RS" sz="1200" b="1" kern="10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Лука Андр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Кораци у уновчењу имовине: стратегије продаје, одлуке стечајног управника, продаја специфичне имовине, канали продаје, маркетинг и е-продаја – Ђорђе Јок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Студија случаја </a:t>
                      </a: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модели продаје – Ђорђе Јок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Процена и продаја удела у капиталу – Јована Зелић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Уновчење имовине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–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Изазови, дужности и најбоља пракса – Др.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Paul Omar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Међународни трендови у уновчењу имовине и улога стечајног управника - Др. </a:t>
                      </a:r>
                      <a:r>
                        <a:rPr lang="fr-FR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+mn-ea"/>
                          <a:cs typeface="Times New Roman"/>
                        </a:rPr>
                        <a:t>Paul Omar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+mn-ea"/>
                        <a:cs typeface="Times New Roman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1929961"/>
                  </a:ext>
                </a:extLst>
              </a:tr>
              <a:tr h="912334"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Децембар</a:t>
                      </a:r>
                      <a:r>
                        <a:rPr lang="en-GB" sz="1200" b="1" kern="100" dirty="0"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 2024</a:t>
                      </a:r>
                      <a:endParaRPr lang="en-GB" sz="1200" b="1" kern="100" dirty="0"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55AE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Финансијско рачуноводство 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(</a:t>
                      </a:r>
                      <a:r>
                        <a:rPr lang="sr-Cyrl-RS" sz="1200" b="1" kern="100" dirty="0" err="1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вебинар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)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Радна свеска</a:t>
                      </a:r>
                      <a:r>
                        <a:rPr lang="en-GB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 8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и </a:t>
                      </a:r>
                      <a:r>
                        <a:rPr lang="sr-Latn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Power Point </a:t>
                      </a:r>
                      <a:r>
                        <a:rPr lang="sr-Cyrl-RS" sz="1200" b="1" kern="100" dirty="0">
                          <a:solidFill>
                            <a:schemeClr val="bg1"/>
                          </a:solidFill>
                          <a:effectLst/>
                          <a:latin typeface="Franklin Gothic Book"/>
                          <a:ea typeface="Times New Roman" panose="02020603050405020304" pitchFamily="18" charset="0"/>
                          <a:cs typeface="Times New Roman"/>
                        </a:rPr>
                        <a:t>презентација ће следити</a:t>
                      </a:r>
                      <a:endParaRPr lang="en-GB" sz="1200" b="1" kern="100" dirty="0">
                        <a:solidFill>
                          <a:schemeClr val="bg1"/>
                        </a:solidFill>
                        <a:effectLst/>
                        <a:latin typeface="Franklin Gothic Book"/>
                        <a:ea typeface="Calibri" panose="020F0502020204030204" pitchFamily="34" charset="0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727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942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9B0FA-1624-0EDB-9BA4-D16B97AB33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3546" y="2600999"/>
            <a:ext cx="7198495" cy="452432"/>
          </a:xfrm>
        </p:spPr>
        <p:txBody>
          <a:bodyPr/>
          <a:lstStyle/>
          <a:p>
            <a:pPr algn="ctr"/>
            <a:r>
              <a:rPr lang="sr-Cyrl-RS" sz="2600" b="1" dirty="0"/>
              <a:t>ХВАЛА НА ПАЖЊИ</a:t>
            </a:r>
            <a:endParaRPr lang="en-GB" sz="2600" b="1" dirty="0"/>
          </a:p>
        </p:txBody>
      </p:sp>
    </p:spTree>
    <p:extLst>
      <p:ext uri="{BB962C8B-B14F-4D97-AF65-F5344CB8AC3E}">
        <p14:creationId xmlns:p14="http://schemas.microsoft.com/office/powerpoint/2010/main" val="2851038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N0ngPjHEWv96Q0rMua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N0ngPjHEWv96Q0rMua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XqmfSvRU.Fd9DeDe7A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3600" b="1" i="0" dirty="0" smtClean="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0dd5f4a5-f25a-477f-9e2f-199529010064" ContentTypeId="0x010100345F8879F0409A49A7E047B576A1DD9E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f2cb4-908e-41c7-976c-eb68511c53aa" xsi:nil="true"/>
    <j58bd6c1a5e04739961ec993afce87a7 xmlns="ac0f2cb4-908e-41c7-976c-eb68511c53aa">
      <Terms xmlns="http://schemas.microsoft.com/office/infopath/2007/PartnerControls"/>
    </j58bd6c1a5e04739961ec993afce87a7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Retention Record" ma:contentTypeID="0x010100345F8879F0409A49A7E047B576A1DD9E00F8DFFAC4D4D72D4197C597E7DF0105F7" ma:contentTypeVersion="10" ma:contentTypeDescription="This is used for the retention mandatory metadata" ma:contentTypeScope="" ma:versionID="5990d99489a6df1d7b2d786f4e9c5a6d">
  <xsd:schema xmlns:xsd="http://www.w3.org/2001/XMLSchema" xmlns:xs="http://www.w3.org/2001/XMLSchema" xmlns:p="http://schemas.microsoft.com/office/2006/metadata/properties" xmlns:ns2="ac0f2cb4-908e-41c7-976c-eb68511c53aa" targetNamespace="http://schemas.microsoft.com/office/2006/metadata/properties" ma:root="true" ma:fieldsID="d97dd033660d9c601dda5c132c1683ba" ns2:_="">
    <xsd:import namespace="ac0f2cb4-908e-41c7-976c-eb68511c53aa"/>
    <xsd:element name="properties">
      <xsd:complexType>
        <xsd:sequence>
          <xsd:element name="documentManagement">
            <xsd:complexType>
              <xsd:all>
                <xsd:element ref="ns2:j58bd6c1a5e04739961ec993afce87a7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f2cb4-908e-41c7-976c-eb68511c53aa" elementFormDefault="qualified">
    <xsd:import namespace="http://schemas.microsoft.com/office/2006/documentManagement/types"/>
    <xsd:import namespace="http://schemas.microsoft.com/office/infopath/2007/PartnerControls"/>
    <xsd:element name="j58bd6c1a5e04739961ec993afce87a7" ma:index="8" nillable="true" ma:taxonomy="true" ma:internalName="j58bd6c1a5e04739961ec993afce87a7" ma:taxonomyFieldName="Record_x0020_Status" ma:displayName="Record Status" ma:indexed="true" ma:default="" ma:fieldId="{358bd6c1-a5e0-4739-961e-c993afce87a7}" ma:sspId="0dd5f4a5-f25a-477f-9e2f-199529010064" ma:termSetId="0d0b33db-2987-452e-ae5d-97490952d4d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8c54ef55-94a5-4245-9539-9503d4867bcb}" ma:internalName="TaxCatchAll" ma:showField="CatchAllData" ma:web="198f3a57-6bf6-4746-a3af-d88405e893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8c54ef55-94a5-4245-9539-9503d4867bcb}" ma:internalName="TaxCatchAllLabel" ma:readOnly="true" ma:showField="CatchAllDataLabel" ma:web="198f3a57-6bf6-4746-a3af-d88405e893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sisl xmlns:xsd="http://www.w3.org/2001/XMLSchema" xmlns:xsi="http://www.w3.org/2001/XMLSchema-instance" xmlns="http://www.boldonjames.com/2008/01/sie/internal/label" sislVersion="0" policy="1d45786f-a737-4735-8af6-df12fb6939a2" origin="userSelected">
  <element uid="9c87da95-7b2f-439f-bfd9-321fc51f6870" value=""/>
  <element uid="214105f6-acd4-485a-afa0-a0b988f7534c" value=""/>
</sisl>
</file>

<file path=customXml/itemProps1.xml><?xml version="1.0" encoding="utf-8"?>
<ds:datastoreItem xmlns:ds="http://schemas.openxmlformats.org/officeDocument/2006/customXml" ds:itemID="{AECA4143-84E5-4E84-93C2-75E58B4F14E9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64F4E7D6-B8B5-4771-913F-D671C4CF562C}">
  <ds:schemaRefs>
    <ds:schemaRef ds:uri="http://schemas.microsoft.com/office/2006/metadata/properties"/>
    <ds:schemaRef ds:uri="ac0f2cb4-908e-41c7-976c-eb68511c53aa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1667714-9DFF-407C-8DC8-7D7B067052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0f2cb4-908e-41c7-976c-eb68511c53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573947A-ED7A-4E9D-BECB-624B28CEDAB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402CEFF-C793-4C50-B103-DCF45D6F3A24}">
  <ds:schemaRefs>
    <ds:schemaRef ds:uri="http://www.w3.org/2001/XMLSchema"/>
    <ds:schemaRef ds:uri="http://www.boldonjames.com/2008/01/sie/internal/label"/>
  </ds:schemaRefs>
</ds:datastoreItem>
</file>

<file path=docMetadata/LabelInfo.xml><?xml version="1.0" encoding="utf-8"?>
<clbl:labelList xmlns:clbl="http://schemas.microsoft.com/office/2020/mipLabelMetadata">
  <clbl:label id="{1cb350ab-c2fd-4b20-a9d9-41f8e7e93f2e}" enabled="1" method="Standard" siteId="{172f4752-6874-4876-bad5-e6d61f99117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1656</TotalTime>
  <Words>641</Words>
  <Application>Microsoft Office PowerPoint</Application>
  <PresentationFormat>Widescreen</PresentationFormat>
  <Paragraphs>119</Paragraphs>
  <Slides>7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Franklin Gothic Book</vt:lpstr>
      <vt:lpstr>Verdana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idge Zoller</dc:creator>
  <cp:keywords>[EBRD/NON-BANK USE]</cp:keywords>
  <cp:lastModifiedBy>Branka Vesovic</cp:lastModifiedBy>
  <cp:revision>248</cp:revision>
  <dcterms:created xsi:type="dcterms:W3CDTF">2024-02-02T09:43:20Z</dcterms:created>
  <dcterms:modified xsi:type="dcterms:W3CDTF">2024-11-15T10:3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c03253d6-50a2-4244-815d-9f35d6df21b5</vt:lpwstr>
  </property>
  <property fmtid="{D5CDD505-2E9C-101B-9397-08002B2CF9AE}" pid="3" name="bjClsUserRVM">
    <vt:lpwstr>[]</vt:lpwstr>
  </property>
  <property fmtid="{D5CDD505-2E9C-101B-9397-08002B2CF9AE}" pid="4" name="bjSaver">
    <vt:lpwstr>4ON0lCknkJIuQWwEtxfwDkdhYN+H0380</vt:lpwstr>
  </property>
  <property fmtid="{D5CDD505-2E9C-101B-9397-08002B2CF9AE}" pid="5" name="bjDocumentLabelXML">
    <vt:lpwstr>&lt;?xml version="1.0" encoding="us-ascii"?&gt;&lt;sisl xmlns:xsd="http://www.w3.org/2001/XMLSchema" xmlns:xsi="http://www.w3.org/2001/XMLSchema-instance" sislVersion="0" policy="1d45786f-a737-4735-8af6-df12fb6939a2" origin="userSelected" xmlns="http://www.boldonj</vt:lpwstr>
  </property>
  <property fmtid="{D5CDD505-2E9C-101B-9397-08002B2CF9AE}" pid="6" name="bjDocumentLabelXML-0">
    <vt:lpwstr>ames.com/2008/01/sie/internal/label"&gt;&lt;element uid="9c87da95-7b2f-439f-bfd9-321fc51f6870" value="" /&gt;&lt;element uid="214105f6-acd4-485a-afa0-a0b988f7534c" value="" /&gt;&lt;/sisl&gt;</vt:lpwstr>
  </property>
  <property fmtid="{D5CDD505-2E9C-101B-9397-08002B2CF9AE}" pid="7" name="bjDocumentSecurityLabel">
    <vt:lpwstr>NON-BANK USE</vt:lpwstr>
  </property>
  <property fmtid="{D5CDD505-2E9C-101B-9397-08002B2CF9AE}" pid="8" name="ContentTypeId">
    <vt:lpwstr>0x010100345F8879F0409A49A7E047B576A1DD9E00F8DFFAC4D4D72D4197C597E7DF0105F7</vt:lpwstr>
  </property>
  <property fmtid="{D5CDD505-2E9C-101B-9397-08002B2CF9AE}" pid="9" name="MediaServiceImageTags">
    <vt:lpwstr/>
  </property>
  <property fmtid="{D5CDD505-2E9C-101B-9397-08002B2CF9AE}" pid="10" name="lcf76f155ced4ddcb4097134ff3c332f">
    <vt:lpwstr/>
  </property>
  <property fmtid="{D5CDD505-2E9C-101B-9397-08002B2CF9AE}" pid="11" name="Record Status">
    <vt:lpwstr/>
  </property>
  <property fmtid="{D5CDD505-2E9C-101B-9397-08002B2CF9AE}" pid="12" name="ClassificationContentMarkingFooterLocations">
    <vt:lpwstr>Office Theme:5</vt:lpwstr>
  </property>
  <property fmtid="{D5CDD505-2E9C-101B-9397-08002B2CF9AE}" pid="13" name="ClassificationContentMarkingFooterText">
    <vt:lpwstr>OFFICIAL USE</vt:lpwstr>
  </property>
  <property fmtid="{D5CDD505-2E9C-101B-9397-08002B2CF9AE}" pid="14" name="ClassificationContentMarkingHeaderLocations">
    <vt:lpwstr>Office Theme:4</vt:lpwstr>
  </property>
  <property fmtid="{D5CDD505-2E9C-101B-9397-08002B2CF9AE}" pid="15" name="ClassificationContentMarkingHeaderText">
    <vt:lpwstr>OFFICIAL USE</vt:lpwstr>
  </property>
  <property fmtid="{D5CDD505-2E9C-101B-9397-08002B2CF9AE}" pid="16" name="Record_x0020_Status">
    <vt:lpwstr/>
  </property>
</Properties>
</file>